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Default Extension="gif" ContentType="image/gif"/>
  <Override PartName="/ppt/tags/tag2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8"/>
  </p:notesMasterIdLst>
  <p:handoutMasterIdLst>
    <p:handoutMasterId r:id="rId9"/>
  </p:handoutMasterIdLst>
  <p:sldIdLst>
    <p:sldId id="311" r:id="rId2"/>
    <p:sldId id="340" r:id="rId3"/>
    <p:sldId id="345" r:id="rId4"/>
    <p:sldId id="341" r:id="rId5"/>
    <p:sldId id="346" r:id="rId6"/>
    <p:sldId id="347" r:id="rId7"/>
  </p:sldIdLst>
  <p:sldSz cx="9906000" cy="6858000" type="A4"/>
  <p:notesSz cx="6896100" cy="10033000"/>
  <p:custDataLst>
    <p:tags r:id="rId10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93857" autoAdjust="0"/>
  </p:normalViewPr>
  <p:slideViewPr>
    <p:cSldViewPr>
      <p:cViewPr>
        <p:scale>
          <a:sx n="80" d="100"/>
          <a:sy n="80" d="100"/>
        </p:scale>
        <p:origin x="-1260" y="-630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6/23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hift_register [Autosaved]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hift_register [Autosaved]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shift_register [Autosaved]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shift_register [Autosaved]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hift_register [Autosaved]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shift_register [Autosaved]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gi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smtClean="0"/>
              <a:t>Rejestr przesuwny</a:t>
            </a: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Rejestr przesuwny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hift_register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AutoShape 4" descr="https://www.electronics-micros.com/img/arduino/shift-register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222" name="AutoShape 6" descr="https://www.electronics-micros.com/img/arduino/shift-register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37225" name="Picture 9" descr="C:\Users\jczas\Downloads\seq15.gif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73050" y="1484730"/>
            <a:ext cx="4810125" cy="2276475"/>
          </a:xfrm>
          <a:prstGeom prst="rect">
            <a:avLst/>
          </a:prstGeom>
          <a:noFill/>
        </p:spPr>
      </p:pic>
      <p:pic>
        <p:nvPicPr>
          <p:cNvPr id="137226" name="Picture 10" descr="C:\Users\jczas\Downloads\seq34.gif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241040" y="1484313"/>
            <a:ext cx="4391910" cy="4325366"/>
          </a:xfrm>
          <a:prstGeom prst="rect">
            <a:avLst/>
          </a:prstGeom>
          <a:noFill/>
        </p:spPr>
      </p:pic>
      <p:sp>
        <p:nvSpPr>
          <p:cNvPr id="24" name="Rectangle 23"/>
          <p:cNvSpPr/>
          <p:nvPr/>
        </p:nvSpPr>
        <p:spPr>
          <a:xfrm>
            <a:off x="273050" y="4149100"/>
            <a:ext cx="4953000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dirty="0" smtClean="0"/>
              <a:t>Przerzutnik typu D – jeden z podstawowych rodzajów przerzutników synchronicznych, nazywany układem opóźniającym. Przerzutnik ten przepisuje stan wejścia informacyjnego D na wyjście Q. Przepisanie informacji następuje tylko przy odpowiednim stanie wejścia zegarowego [</a:t>
            </a:r>
            <a:r>
              <a:rPr lang="pl-PL" dirty="0" err="1" smtClean="0"/>
              <a:t>wikipedia</a:t>
            </a:r>
            <a:r>
              <a:rPr lang="pl-PL" dirty="0" smtClean="0"/>
              <a:t>]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57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8-Bitowy rejestr przesuwny 74HC595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hift_register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45765" name="Picture 5" descr="C:\Users\jczas\Downloads\pinout-74hc595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48430" y="1196690"/>
            <a:ext cx="4323404" cy="5157065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5529080" y="2996940"/>
            <a:ext cx="3100849" cy="1588127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dirty="0" smtClean="0">
                <a:latin typeface="+mj-lt"/>
              </a:rPr>
              <a:t>Q0-Q7	  – wyjścia</a:t>
            </a:r>
          </a:p>
          <a:p>
            <a:pPr>
              <a:lnSpc>
                <a:spcPct val="90000"/>
              </a:lnSpc>
            </a:pPr>
            <a:r>
              <a:rPr lang="pl-PL" sz="1800" dirty="0" smtClean="0">
                <a:latin typeface="+mj-lt"/>
              </a:rPr>
              <a:t>OE, GND  – masa</a:t>
            </a:r>
          </a:p>
          <a:p>
            <a:pPr>
              <a:lnSpc>
                <a:spcPct val="90000"/>
              </a:lnSpc>
            </a:pPr>
            <a:r>
              <a:rPr lang="pl-PL" sz="1800" dirty="0" err="1" smtClean="0">
                <a:latin typeface="+mj-lt"/>
              </a:rPr>
              <a:t>Vcc</a:t>
            </a:r>
            <a:r>
              <a:rPr lang="pl-PL" sz="1800" smtClean="0">
                <a:latin typeface="+mj-lt"/>
              </a:rPr>
              <a:t>, MQ </a:t>
            </a:r>
            <a:r>
              <a:rPr lang="pl-PL" sz="1800" dirty="0" smtClean="0">
                <a:latin typeface="+mj-lt"/>
              </a:rPr>
              <a:t>	  – napięcie</a:t>
            </a:r>
          </a:p>
          <a:p>
            <a:pPr>
              <a:lnSpc>
                <a:spcPct val="90000"/>
              </a:lnSpc>
            </a:pPr>
            <a:r>
              <a:rPr lang="pl-PL" sz="1800" dirty="0" smtClean="0">
                <a:latin typeface="+mj-lt"/>
              </a:rPr>
              <a:t>DS 	  – dane wejściowe</a:t>
            </a:r>
          </a:p>
          <a:p>
            <a:pPr>
              <a:lnSpc>
                <a:spcPct val="90000"/>
              </a:lnSpc>
            </a:pPr>
            <a:r>
              <a:rPr lang="pl-PL" sz="1800" dirty="0" smtClean="0">
                <a:latin typeface="+mj-lt"/>
              </a:rPr>
              <a:t>ST 	  – zatrzask</a:t>
            </a:r>
          </a:p>
          <a:p>
            <a:pPr>
              <a:lnSpc>
                <a:spcPct val="90000"/>
              </a:lnSpc>
            </a:pPr>
            <a:r>
              <a:rPr lang="pl-PL" sz="1800" dirty="0" smtClean="0">
                <a:latin typeface="+mj-lt"/>
              </a:rPr>
              <a:t>SH 	  – zegar</a:t>
            </a:r>
            <a:endParaRPr lang="en-US" sz="1800" dirty="0" smtClean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552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Wyświetlacz 7-segmentowy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hift_register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35523" name="Picture 3" descr="C:\Users\jczas\Downloads\pobrane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73050" y="4725180"/>
            <a:ext cx="2133600" cy="1609725"/>
          </a:xfrm>
          <a:prstGeom prst="rect">
            <a:avLst/>
          </a:prstGeom>
          <a:noFill/>
        </p:spPr>
      </p:pic>
      <p:pic>
        <p:nvPicPr>
          <p:cNvPr id="235524" name="Picture 4" descr="C:\Users\jczas\Downloads\7-Segment-88.gif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720690" y="1492795"/>
            <a:ext cx="6553200" cy="46005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009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Układ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hift_register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60099" name="Picture 3" descr="C:\Users\jczas\Downloads\shift_register_7_led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64460" y="1223824"/>
            <a:ext cx="7921100" cy="508557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112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Progra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hift_register [Autosaved]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704410" y="1773238"/>
            <a:ext cx="2952410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endParaRPr lang="en-US" sz="1400" dirty="0" smtClean="0"/>
          </a:p>
        </p:txBody>
      </p:sp>
      <p:sp>
        <p:nvSpPr>
          <p:cNvPr id="261123" name="Rectangle 3"/>
          <p:cNvSpPr>
            <a:spLocks noChangeArrowheads="1"/>
          </p:cNvSpPr>
          <p:nvPr/>
        </p:nvSpPr>
        <p:spPr bwMode="auto">
          <a:xfrm>
            <a:off x="273750" y="1282774"/>
            <a:ext cx="9359900" cy="51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804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#include &lt;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804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Arduino.h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804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&gt;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8000FF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int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dataPin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=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FF8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10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;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8000FF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int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latchPin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=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FF8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11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;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8000FF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int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clockPin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=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FF8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12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;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de-DE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byte</a:t>
            </a:r>
            <a:r>
              <a:rPr kumimoji="0" lang="de-DE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de-DE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dec_digits</a:t>
            </a:r>
            <a:r>
              <a:rPr kumimoji="0" lang="de-DE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[]</a:t>
            </a:r>
            <a:r>
              <a:rPr kumimoji="0" lang="de-DE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de-DE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=</a:t>
            </a:r>
            <a:r>
              <a:rPr kumimoji="0" lang="de-DE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de-DE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{</a:t>
            </a:r>
            <a:r>
              <a:rPr lang="de-DE" sz="1800" b="1" dirty="0" smtClean="0">
                <a:solidFill>
                  <a:srgbClr val="FF8000"/>
                </a:solidFill>
                <a:latin typeface="Courier New" pitchFamily="49" charset="0"/>
                <a:ea typeface="Times New Roman" pitchFamily="18" charset="0"/>
                <a:cs typeface="Courier New" pitchFamily="49" charset="0"/>
              </a:rPr>
              <a:t>0b00010000,0b01111101</a:t>
            </a:r>
            <a:r>
              <a:rPr kumimoji="0" lang="de-DE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};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8000FF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void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setup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()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{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pinMode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(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dataPin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,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OUTPUT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);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pinMode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(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latchPin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,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OUTPUT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);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pinMode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(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clockPin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,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OUTPUT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);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}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8000FF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void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loop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()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{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 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for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(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8000FF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int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i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=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FF8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0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;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i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&lt;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FF8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2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;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i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++)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{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  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digitalWrite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(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latchPin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,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LOW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);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  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shiftOut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(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dataPin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,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clockPin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,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MSBFIRST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,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dec_digits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[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i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]);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  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digitalWrite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(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latchPin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,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HIGH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);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   delay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(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FF8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500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);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  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}</a:t>
            </a: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itchFamily="49" charset="0"/>
                <a:ea typeface="Times New Roman" pitchFamily="18" charset="0"/>
                <a:cs typeface="Courier New" pitchFamily="49" charset="0"/>
              </a:rPr>
              <a:t>}</a:t>
            </a:r>
            <a:endParaRPr kumimoji="0" lang="en-US" sz="4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8</Words>
  <Application>Microsoft Office PowerPoint</Application>
  <PresentationFormat>A4 Paper (210x297 mm)</PresentationFormat>
  <Paragraphs>52</Paragraphs>
  <Slides>6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Blank</vt:lpstr>
      <vt:lpstr>think-cell Slide</vt:lpstr>
      <vt:lpstr>Rejestr przesuwny</vt:lpstr>
      <vt:lpstr>Rejestr przesuwny</vt:lpstr>
      <vt:lpstr>8-Bitowy rejestr przesuwny 74HC595</vt:lpstr>
      <vt:lpstr>Wyświetlacz 7-segmentowy</vt:lpstr>
      <vt:lpstr>Układ</vt:lpstr>
      <vt:lpstr>Program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196</cp:revision>
  <dcterms:created xsi:type="dcterms:W3CDTF">2014-10-21T19:55:20Z</dcterms:created>
  <dcterms:modified xsi:type="dcterms:W3CDTF">2016-06-23T18:16:06Z</dcterms:modified>
</cp:coreProperties>
</file>